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3"/>
  </p:notesMasterIdLst>
  <p:handoutMasterIdLst>
    <p:handoutMasterId r:id="rId14"/>
  </p:handoutMasterIdLst>
  <p:sldIdLst>
    <p:sldId id="1277" r:id="rId3"/>
    <p:sldId id="1293" r:id="rId4"/>
    <p:sldId id="1294" r:id="rId5"/>
    <p:sldId id="1296" r:id="rId6"/>
    <p:sldId id="1371" r:id="rId7"/>
    <p:sldId id="1370" r:id="rId8"/>
    <p:sldId id="1343" r:id="rId9"/>
    <p:sldId id="1344" r:id="rId10"/>
    <p:sldId id="1345" r:id="rId11"/>
    <p:sldId id="1346" r:id="rId12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71"/>
            <p14:sldId id="1370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515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6299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3. 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0042992"/>
              </p:ext>
            </p:extLst>
          </p:nvPr>
        </p:nvGraphicFramePr>
        <p:xfrm>
          <a:off x="372867" y="838718"/>
          <a:ext cx="11435203" cy="4816202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čet C19 pacientů na standardních odděleních posledních 10 dnů osciluje nebo mírně klesá, narůstá počet pacientů na C19 JIP, včetně potřeby UPV. 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á; akutní problémy jednotlivých ZZ řešeny ve spolupráci s dispečinkem ZZS MSK a/anebo mezi nemocničními transporty v rámci kraje, při stávajících trendech a predikcích by situace měla být nadále řešitelná v rámci kraj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74794" y="2248063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13.12.2021 00:21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953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6148485"/>
              </p:ext>
            </p:extLst>
          </p:nvPr>
        </p:nvGraphicFramePr>
        <p:xfrm>
          <a:off x="332818" y="975942"/>
          <a:ext cx="9236116" cy="5278246"/>
        </p:xfrm>
        <a:graphic>
          <a:graphicData uri="http://schemas.openxmlformats.org/drawingml/2006/table">
            <a:tbl>
              <a:tblPr/>
              <a:tblGrid>
                <a:gridCol w="2009931">
                  <a:extLst>
                    <a:ext uri="{9D8B030D-6E8A-4147-A177-3AD203B41FA5}">
                      <a16:colId xmlns:a16="http://schemas.microsoft.com/office/drawing/2014/main" val="4152572541"/>
                    </a:ext>
                  </a:extLst>
                </a:gridCol>
                <a:gridCol w="1230572">
                  <a:extLst>
                    <a:ext uri="{9D8B030D-6E8A-4147-A177-3AD203B41FA5}">
                      <a16:colId xmlns:a16="http://schemas.microsoft.com/office/drawing/2014/main" val="2535544239"/>
                    </a:ext>
                  </a:extLst>
                </a:gridCol>
                <a:gridCol w="1138278">
                  <a:extLst>
                    <a:ext uri="{9D8B030D-6E8A-4147-A177-3AD203B41FA5}">
                      <a16:colId xmlns:a16="http://schemas.microsoft.com/office/drawing/2014/main" val="4286284640"/>
                    </a:ext>
                  </a:extLst>
                </a:gridCol>
                <a:gridCol w="1134859">
                  <a:extLst>
                    <a:ext uri="{9D8B030D-6E8A-4147-A177-3AD203B41FA5}">
                      <a16:colId xmlns:a16="http://schemas.microsoft.com/office/drawing/2014/main" val="4034889076"/>
                    </a:ext>
                  </a:extLst>
                </a:gridCol>
                <a:gridCol w="1175878">
                  <a:extLst>
                    <a:ext uri="{9D8B030D-6E8A-4147-A177-3AD203B41FA5}">
                      <a16:colId xmlns:a16="http://schemas.microsoft.com/office/drawing/2014/main" val="1050280301"/>
                    </a:ext>
                  </a:extLst>
                </a:gridCol>
                <a:gridCol w="1179297">
                  <a:extLst>
                    <a:ext uri="{9D8B030D-6E8A-4147-A177-3AD203B41FA5}">
                      <a16:colId xmlns:a16="http://schemas.microsoft.com/office/drawing/2014/main" val="1863246135"/>
                    </a:ext>
                  </a:extLst>
                </a:gridCol>
                <a:gridCol w="1367301">
                  <a:extLst>
                    <a:ext uri="{9D8B030D-6E8A-4147-A177-3AD203B41FA5}">
                      <a16:colId xmlns:a16="http://schemas.microsoft.com/office/drawing/2014/main" val="2002090493"/>
                    </a:ext>
                  </a:extLst>
                </a:gridCol>
              </a:tblGrid>
              <a:tr h="204141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3.12. 2021, 11:00 h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8367123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3442082"/>
                  </a:ext>
                </a:extLst>
              </a:tr>
              <a:tr h="19891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2280511"/>
                  </a:ext>
                </a:extLst>
              </a:tr>
              <a:tr h="73636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</a:t>
                      </a:r>
                      <a:r>
                        <a:rPr lang="cs-CZ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6774902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2257892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0507371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1433867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0783433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5328792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8521571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2045731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4324638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1510901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8829457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5536268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2685608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8666630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3298177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2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4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5735388"/>
                  </a:ext>
                </a:extLst>
              </a:tr>
              <a:tr h="247885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4007270"/>
                  </a:ext>
                </a:extLst>
              </a:tr>
              <a:tr h="198919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2971925"/>
                  </a:ext>
                </a:extLst>
              </a:tr>
              <a:tr h="15111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5344902"/>
                  </a:ext>
                </a:extLst>
              </a:tr>
              <a:tr h="19891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x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30941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9167557"/>
              </p:ext>
            </p:extLst>
          </p:nvPr>
        </p:nvGraphicFramePr>
        <p:xfrm>
          <a:off x="332819" y="993536"/>
          <a:ext cx="9082453" cy="5244744"/>
        </p:xfrm>
        <a:graphic>
          <a:graphicData uri="http://schemas.openxmlformats.org/drawingml/2006/table">
            <a:tbl>
              <a:tblPr/>
              <a:tblGrid>
                <a:gridCol w="1977224">
                  <a:extLst>
                    <a:ext uri="{9D8B030D-6E8A-4147-A177-3AD203B41FA5}">
                      <a16:colId xmlns:a16="http://schemas.microsoft.com/office/drawing/2014/main" val="4020310242"/>
                    </a:ext>
                  </a:extLst>
                </a:gridCol>
                <a:gridCol w="1210545">
                  <a:extLst>
                    <a:ext uri="{9D8B030D-6E8A-4147-A177-3AD203B41FA5}">
                      <a16:colId xmlns:a16="http://schemas.microsoft.com/office/drawing/2014/main" val="3027233107"/>
                    </a:ext>
                  </a:extLst>
                </a:gridCol>
                <a:gridCol w="1119755">
                  <a:extLst>
                    <a:ext uri="{9D8B030D-6E8A-4147-A177-3AD203B41FA5}">
                      <a16:colId xmlns:a16="http://schemas.microsoft.com/office/drawing/2014/main" val="2969547216"/>
                    </a:ext>
                  </a:extLst>
                </a:gridCol>
                <a:gridCol w="1116392">
                  <a:extLst>
                    <a:ext uri="{9D8B030D-6E8A-4147-A177-3AD203B41FA5}">
                      <a16:colId xmlns:a16="http://schemas.microsoft.com/office/drawing/2014/main" val="2177049205"/>
                    </a:ext>
                  </a:extLst>
                </a:gridCol>
                <a:gridCol w="1156742">
                  <a:extLst>
                    <a:ext uri="{9D8B030D-6E8A-4147-A177-3AD203B41FA5}">
                      <a16:colId xmlns:a16="http://schemas.microsoft.com/office/drawing/2014/main" val="383396133"/>
                    </a:ext>
                  </a:extLst>
                </a:gridCol>
                <a:gridCol w="1160107">
                  <a:extLst>
                    <a:ext uri="{9D8B030D-6E8A-4147-A177-3AD203B41FA5}">
                      <a16:colId xmlns:a16="http://schemas.microsoft.com/office/drawing/2014/main" val="2149071224"/>
                    </a:ext>
                  </a:extLst>
                </a:gridCol>
                <a:gridCol w="1341688">
                  <a:extLst>
                    <a:ext uri="{9D8B030D-6E8A-4147-A177-3AD203B41FA5}">
                      <a16:colId xmlns:a16="http://schemas.microsoft.com/office/drawing/2014/main" val="1006372806"/>
                    </a:ext>
                  </a:extLst>
                </a:gridCol>
              </a:tblGrid>
              <a:tr h="206090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3.12. 2021, 11:00 h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5013919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9102585"/>
                  </a:ext>
                </a:extLst>
              </a:tr>
              <a:tr h="1990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1699960"/>
                  </a:ext>
                </a:extLst>
              </a:tr>
              <a:tr h="74339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6949326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5824633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0371324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4576396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100047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5645844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552873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5950647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2496128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5949466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1966498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4795312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1876743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4018185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8811643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972436"/>
                  </a:ext>
                </a:extLst>
              </a:tr>
              <a:tr h="199000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8487820"/>
                  </a:ext>
                </a:extLst>
              </a:tr>
              <a:tr h="19900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7457863"/>
                  </a:ext>
                </a:extLst>
              </a:tr>
              <a:tr h="880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372495"/>
                  </a:ext>
                </a:extLst>
              </a:tr>
              <a:tr h="19900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x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4764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13.12.2021 00:21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4</a:t>
            </a:r>
            <a:r>
              <a:rPr lang="cs-CZ" sz="2000" b="1" dirty="0"/>
              <a:t> </a:t>
            </a:r>
            <a:r>
              <a:rPr lang="cs-CZ" sz="2000" b="1" dirty="0" smtClean="0"/>
              <a:t>608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8184679"/>
              </p:ext>
            </p:extLst>
          </p:nvPr>
        </p:nvGraphicFramePr>
        <p:xfrm>
          <a:off x="332818" y="1073617"/>
          <a:ext cx="8863935" cy="5146595"/>
        </p:xfrm>
        <a:graphic>
          <a:graphicData uri="http://schemas.openxmlformats.org/drawingml/2006/table">
            <a:tbl>
              <a:tblPr/>
              <a:tblGrid>
                <a:gridCol w="1890459">
                  <a:extLst>
                    <a:ext uri="{9D8B030D-6E8A-4147-A177-3AD203B41FA5}">
                      <a16:colId xmlns:a16="http://schemas.microsoft.com/office/drawing/2014/main" val="1368862587"/>
                    </a:ext>
                  </a:extLst>
                </a:gridCol>
                <a:gridCol w="1157423">
                  <a:extLst>
                    <a:ext uri="{9D8B030D-6E8A-4147-A177-3AD203B41FA5}">
                      <a16:colId xmlns:a16="http://schemas.microsoft.com/office/drawing/2014/main" val="1791305772"/>
                    </a:ext>
                  </a:extLst>
                </a:gridCol>
                <a:gridCol w="1070616">
                  <a:extLst>
                    <a:ext uri="{9D8B030D-6E8A-4147-A177-3AD203B41FA5}">
                      <a16:colId xmlns:a16="http://schemas.microsoft.com/office/drawing/2014/main" val="2026359108"/>
                    </a:ext>
                  </a:extLst>
                </a:gridCol>
                <a:gridCol w="1067402">
                  <a:extLst>
                    <a:ext uri="{9D8B030D-6E8A-4147-A177-3AD203B41FA5}">
                      <a16:colId xmlns:a16="http://schemas.microsoft.com/office/drawing/2014/main" val="4161368839"/>
                    </a:ext>
                  </a:extLst>
                </a:gridCol>
                <a:gridCol w="1105983">
                  <a:extLst>
                    <a:ext uri="{9D8B030D-6E8A-4147-A177-3AD203B41FA5}">
                      <a16:colId xmlns:a16="http://schemas.microsoft.com/office/drawing/2014/main" val="2660131350"/>
                    </a:ext>
                  </a:extLst>
                </a:gridCol>
                <a:gridCol w="1286026">
                  <a:extLst>
                    <a:ext uri="{9D8B030D-6E8A-4147-A177-3AD203B41FA5}">
                      <a16:colId xmlns:a16="http://schemas.microsoft.com/office/drawing/2014/main" val="3064840336"/>
                    </a:ext>
                  </a:extLst>
                </a:gridCol>
                <a:gridCol w="1286026">
                  <a:extLst>
                    <a:ext uri="{9D8B030D-6E8A-4147-A177-3AD203B41FA5}">
                      <a16:colId xmlns:a16="http://schemas.microsoft.com/office/drawing/2014/main" val="498216726"/>
                    </a:ext>
                  </a:extLst>
                </a:gridCol>
              </a:tblGrid>
              <a:tr h="220818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3.12. 2021, 11:00 h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9064626"/>
                  </a:ext>
                </a:extLst>
              </a:tr>
              <a:tr h="2050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1119736"/>
                  </a:ext>
                </a:extLst>
              </a:tr>
              <a:tr h="22081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3019803"/>
                  </a:ext>
                </a:extLst>
              </a:tr>
              <a:tr h="59936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3702502"/>
                  </a:ext>
                </a:extLst>
              </a:tr>
              <a:tr h="1971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4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492697"/>
                  </a:ext>
                </a:extLst>
              </a:tr>
              <a:tr h="1971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753739"/>
                  </a:ext>
                </a:extLst>
              </a:tr>
              <a:tr h="1971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504971"/>
                  </a:ext>
                </a:extLst>
              </a:tr>
              <a:tr h="1971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5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274542"/>
                  </a:ext>
                </a:extLst>
              </a:tr>
              <a:tr h="1971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041709"/>
                  </a:ext>
                </a:extLst>
              </a:tr>
              <a:tr h="1971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5317859"/>
                  </a:ext>
                </a:extLst>
              </a:tr>
              <a:tr h="1971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33435"/>
                  </a:ext>
                </a:extLst>
              </a:tr>
              <a:tr h="1971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7897204"/>
                  </a:ext>
                </a:extLst>
              </a:tr>
              <a:tr h="1971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464751"/>
                  </a:ext>
                </a:extLst>
              </a:tr>
              <a:tr h="1971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060299"/>
                  </a:ext>
                </a:extLst>
              </a:tr>
              <a:tr h="1971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3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5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967036"/>
                  </a:ext>
                </a:extLst>
              </a:tr>
              <a:tr h="1971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582715"/>
                  </a:ext>
                </a:extLst>
              </a:tr>
              <a:tr h="1971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1017754"/>
                  </a:ext>
                </a:extLst>
              </a:tr>
              <a:tr h="2050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225357"/>
                  </a:ext>
                </a:extLst>
              </a:tr>
              <a:tr h="21293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62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91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6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3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253792"/>
                  </a:ext>
                </a:extLst>
              </a:tr>
              <a:tr h="197159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8893819"/>
                  </a:ext>
                </a:extLst>
              </a:tr>
              <a:tr h="18885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7149608"/>
                  </a:ext>
                </a:extLst>
              </a:tr>
              <a:tr h="15144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6839317"/>
                  </a:ext>
                </a:extLst>
              </a:tr>
              <a:tr h="19715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x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07909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7934727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13.12.2021 0:21 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 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5 561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963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3,3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953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68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,0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653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68,5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2 142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8,5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608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88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,2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347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0,9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653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4630382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13.12.202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,9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2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78521" y="3577107"/>
            <a:ext cx="10568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sng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342900" lvl="0" indent="-342900">
              <a:spcAft>
                <a:spcPts val="600"/>
              </a:spcAft>
              <a:buFontTx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KKIP – bez požadavků na NDLP, situace v krajích neměnná (omezený personál, zastavená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)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5836778" y="2028328"/>
            <a:ext cx="52548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u="sng" dirty="0" smtClean="0"/>
              <a:t>Hodnocení:</a:t>
            </a:r>
          </a:p>
          <a:p>
            <a:r>
              <a:rPr lang="cs-CZ" dirty="0" smtClean="0"/>
              <a:t>Uvedené kapacity a obsazenost JIP v posledním týdnu oscilují kolem uvedených hodnot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30448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4792908"/>
              </p:ext>
            </p:extLst>
          </p:nvPr>
        </p:nvGraphicFramePr>
        <p:xfrm>
          <a:off x="332646" y="832094"/>
          <a:ext cx="11405086" cy="4602824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žádá o zastavení přísunu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C+ pac. z důvodu úplného vyčerpání kapacit IP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mocnice na Bulovce 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ásí plnící se 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pacity 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prakticky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Onkologická aj. neodkladná operativa běží bez omezení. Situace na úrovni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tea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, maximalizovány kapacity standardní i intenzivní péče, menší rezerva lůžek zůstává. Další navýšení kapacit by ale již bylo velmi problematické. Krizovou situaci nelze nadále vyloučit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0720369"/>
              </p:ext>
            </p:extLst>
          </p:nvPr>
        </p:nvGraphicFramePr>
        <p:xfrm>
          <a:off x="279292" y="841021"/>
          <a:ext cx="11587543" cy="4813425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1889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 jednání KŠ kraje: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 páteřních </a:t>
                      </a:r>
                      <a:r>
                        <a:rPr lang="cs-CZ" sz="1300" b="0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kraje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zdravotníků v LBK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stagnace počtu hospitalizovaných ve standardní péči. 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6394615"/>
              </p:ext>
            </p:extLst>
          </p:nvPr>
        </p:nvGraphicFramePr>
        <p:xfrm>
          <a:off x="350228" y="708347"/>
          <a:ext cx="11519385" cy="586334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40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7473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2948</TotalTime>
  <Words>1868</Words>
  <Application>Microsoft Office PowerPoint</Application>
  <PresentationFormat>Širokoúhlá obrazovka</PresentationFormat>
  <Paragraphs>528</Paragraphs>
  <Slides>10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0</vt:i4>
      </vt:variant>
    </vt:vector>
  </HeadingPairs>
  <TitlesOfParts>
    <vt:vector size="17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DLP – Stav očkování u hospitalizovaných pacientů</vt:lpstr>
      <vt:lpstr>NDLP - Souhrn - aktualizace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705</cp:revision>
  <cp:lastPrinted>2020-10-20T04:21:56Z</cp:lastPrinted>
  <dcterms:created xsi:type="dcterms:W3CDTF">2020-07-15T10:33:32Z</dcterms:created>
  <dcterms:modified xsi:type="dcterms:W3CDTF">2021-12-13T13:16:56Z</dcterms:modified>
</cp:coreProperties>
</file>